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88D0E-15BA-4A8A-B623-F113690E4347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8BFE97-7209-4AAF-AB1D-B266BBEC8D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2341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553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9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26591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96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2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0089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01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66768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5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9" name="Rechteck 60">
            <a:extLst>
              <a:ext uri="{FF2B5EF4-FFF2-40B4-BE49-F238E27FC236}">
                <a16:creationId xmlns:a16="http://schemas.microsoft.com/office/drawing/2014/main" id="{EF85C844-B378-2B30-1257-A26991F56CCB}"/>
              </a:ext>
            </a:extLst>
          </p:cNvPr>
          <p:cNvSpPr>
            <a:spLocks/>
          </p:cNvSpPr>
          <p:nvPr/>
        </p:nvSpPr>
        <p:spPr bwMode="gray">
          <a:xfrm>
            <a:off x="9918560" y="3377981"/>
            <a:ext cx="1890852" cy="2180612"/>
          </a:xfrm>
          <a:custGeom>
            <a:avLst/>
            <a:gdLst>
              <a:gd name="connsiteX0" fmla="*/ 0 w 1422711"/>
              <a:gd name="connsiteY0" fmla="*/ 0 h 1826924"/>
              <a:gd name="connsiteX1" fmla="*/ 1422711 w 1422711"/>
              <a:gd name="connsiteY1" fmla="*/ 0 h 1826924"/>
              <a:gd name="connsiteX2" fmla="*/ 1422711 w 1422711"/>
              <a:gd name="connsiteY2" fmla="*/ 1826924 h 1826924"/>
              <a:gd name="connsiteX3" fmla="*/ 0 w 1422711"/>
              <a:gd name="connsiteY3" fmla="*/ 1826924 h 1826924"/>
              <a:gd name="connsiteX4" fmla="*/ 0 w 1422711"/>
              <a:gd name="connsiteY4" fmla="*/ 0 h 1826924"/>
              <a:gd name="connsiteX0" fmla="*/ 1422711 w 1514151"/>
              <a:gd name="connsiteY0" fmla="*/ 1826924 h 1918364"/>
              <a:gd name="connsiteX1" fmla="*/ 0 w 1514151"/>
              <a:gd name="connsiteY1" fmla="*/ 1826924 h 1918364"/>
              <a:gd name="connsiteX2" fmla="*/ 0 w 1514151"/>
              <a:gd name="connsiteY2" fmla="*/ 0 h 1918364"/>
              <a:gd name="connsiteX3" fmla="*/ 1422711 w 1514151"/>
              <a:gd name="connsiteY3" fmla="*/ 0 h 1918364"/>
              <a:gd name="connsiteX4" fmla="*/ 1514151 w 1514151"/>
              <a:gd name="connsiteY4" fmla="*/ 1918364 h 1918364"/>
              <a:gd name="connsiteX0" fmla="*/ 1422711 w 1422711"/>
              <a:gd name="connsiteY0" fmla="*/ 1826924 h 1826924"/>
              <a:gd name="connsiteX1" fmla="*/ 0 w 1422711"/>
              <a:gd name="connsiteY1" fmla="*/ 1826924 h 1826924"/>
              <a:gd name="connsiteX2" fmla="*/ 0 w 1422711"/>
              <a:gd name="connsiteY2" fmla="*/ 0 h 1826924"/>
              <a:gd name="connsiteX3" fmla="*/ 1422711 w 1422711"/>
              <a:gd name="connsiteY3" fmla="*/ 0 h 1826924"/>
              <a:gd name="connsiteX0" fmla="*/ 0 w 1422711"/>
              <a:gd name="connsiteY0" fmla="*/ 1826924 h 1826924"/>
              <a:gd name="connsiteX1" fmla="*/ 0 w 1422711"/>
              <a:gd name="connsiteY1" fmla="*/ 0 h 1826924"/>
              <a:gd name="connsiteX2" fmla="*/ 1422711 w 1422711"/>
              <a:gd name="connsiteY2" fmla="*/ 0 h 18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2711" h="1826924">
                <a:moveTo>
                  <a:pt x="0" y="1826924"/>
                </a:moveTo>
                <a:lnTo>
                  <a:pt x="0" y="0"/>
                </a:lnTo>
                <a:lnTo>
                  <a:pt x="1422711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Rechteck 59">
            <a:extLst>
              <a:ext uri="{FF2B5EF4-FFF2-40B4-BE49-F238E27FC236}">
                <a16:creationId xmlns:a16="http://schemas.microsoft.com/office/drawing/2014/main" id="{E0A7BB4A-91DB-C52F-B9B8-0145B7C331A0}"/>
              </a:ext>
            </a:extLst>
          </p:cNvPr>
          <p:cNvSpPr>
            <a:spLocks/>
          </p:cNvSpPr>
          <p:nvPr/>
        </p:nvSpPr>
        <p:spPr bwMode="gray">
          <a:xfrm>
            <a:off x="8360238" y="3083290"/>
            <a:ext cx="3449173" cy="2475303"/>
          </a:xfrm>
          <a:custGeom>
            <a:avLst/>
            <a:gdLst>
              <a:gd name="connsiteX0" fmla="*/ 0 w 2821834"/>
              <a:gd name="connsiteY0" fmla="*/ 0 h 2073817"/>
              <a:gd name="connsiteX1" fmla="*/ 2821834 w 2821834"/>
              <a:gd name="connsiteY1" fmla="*/ 0 h 2073817"/>
              <a:gd name="connsiteX2" fmla="*/ 2821834 w 2821834"/>
              <a:gd name="connsiteY2" fmla="*/ 2073817 h 2073817"/>
              <a:gd name="connsiteX3" fmla="*/ 0 w 2821834"/>
              <a:gd name="connsiteY3" fmla="*/ 2073817 h 2073817"/>
              <a:gd name="connsiteX4" fmla="*/ 0 w 2821834"/>
              <a:gd name="connsiteY4" fmla="*/ 0 h 2073817"/>
              <a:gd name="connsiteX0" fmla="*/ 2821834 w 2913274"/>
              <a:gd name="connsiteY0" fmla="*/ 2073817 h 2165257"/>
              <a:gd name="connsiteX1" fmla="*/ 0 w 2913274"/>
              <a:gd name="connsiteY1" fmla="*/ 2073817 h 2165257"/>
              <a:gd name="connsiteX2" fmla="*/ 0 w 2913274"/>
              <a:gd name="connsiteY2" fmla="*/ 0 h 2165257"/>
              <a:gd name="connsiteX3" fmla="*/ 2821834 w 2913274"/>
              <a:gd name="connsiteY3" fmla="*/ 0 h 2165257"/>
              <a:gd name="connsiteX4" fmla="*/ 2913274 w 2913274"/>
              <a:gd name="connsiteY4" fmla="*/ 2165257 h 2165257"/>
              <a:gd name="connsiteX0" fmla="*/ 2821834 w 2821834"/>
              <a:gd name="connsiteY0" fmla="*/ 2073817 h 2073817"/>
              <a:gd name="connsiteX1" fmla="*/ 0 w 2821834"/>
              <a:gd name="connsiteY1" fmla="*/ 2073817 h 2073817"/>
              <a:gd name="connsiteX2" fmla="*/ 0 w 2821834"/>
              <a:gd name="connsiteY2" fmla="*/ 0 h 2073817"/>
              <a:gd name="connsiteX3" fmla="*/ 2821834 w 2821834"/>
              <a:gd name="connsiteY3" fmla="*/ 0 h 2073817"/>
              <a:gd name="connsiteX0" fmla="*/ 0 w 2821834"/>
              <a:gd name="connsiteY0" fmla="*/ 2073817 h 2073817"/>
              <a:gd name="connsiteX1" fmla="*/ 0 w 2821834"/>
              <a:gd name="connsiteY1" fmla="*/ 0 h 2073817"/>
              <a:gd name="connsiteX2" fmla="*/ 2821834 w 2821834"/>
              <a:gd name="connsiteY2" fmla="*/ 0 h 2073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21834" h="2073817">
                <a:moveTo>
                  <a:pt x="0" y="2073817"/>
                </a:moveTo>
                <a:lnTo>
                  <a:pt x="0" y="0"/>
                </a:lnTo>
                <a:lnTo>
                  <a:pt x="2821834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Rechteck 8">
            <a:extLst>
              <a:ext uri="{FF2B5EF4-FFF2-40B4-BE49-F238E27FC236}">
                <a16:creationId xmlns:a16="http://schemas.microsoft.com/office/drawing/2014/main" id="{BAB8EAB0-5B4B-2F8D-C25F-45A7F582D216}"/>
              </a:ext>
            </a:extLst>
          </p:cNvPr>
          <p:cNvSpPr>
            <a:spLocks/>
          </p:cNvSpPr>
          <p:nvPr/>
        </p:nvSpPr>
        <p:spPr bwMode="gray">
          <a:xfrm>
            <a:off x="9828196" y="4143374"/>
            <a:ext cx="162521" cy="1060449"/>
          </a:xfrm>
          <a:prstGeom prst="rect">
            <a:avLst/>
          </a:prstGeom>
          <a:solidFill>
            <a:schemeClr val="bg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Textfeld 9">
            <a:extLst>
              <a:ext uri="{FF2B5EF4-FFF2-40B4-BE49-F238E27FC236}">
                <a16:creationId xmlns:a16="http://schemas.microsoft.com/office/drawing/2014/main" id="{DD6F07FA-FC24-A506-99E9-E88F5AC039F1}"/>
              </a:ext>
            </a:extLst>
          </p:cNvPr>
          <p:cNvSpPr txBox="1">
            <a:spLocks/>
          </p:cNvSpPr>
          <p:nvPr/>
        </p:nvSpPr>
        <p:spPr bwMode="gray">
          <a:xfrm>
            <a:off x="289481" y="5712827"/>
            <a:ext cx="732573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}</a:t>
            </a:r>
          </a:p>
        </p:txBody>
      </p:sp>
      <p:sp>
        <p:nvSpPr>
          <p:cNvPr id="33" name="Textfeld 10">
            <a:extLst>
              <a:ext uri="{FF2B5EF4-FFF2-40B4-BE49-F238E27FC236}">
                <a16:creationId xmlns:a16="http://schemas.microsoft.com/office/drawing/2014/main" id="{3A7C48CB-2323-5583-08F3-94B11530ED34}"/>
              </a:ext>
            </a:extLst>
          </p:cNvPr>
          <p:cNvSpPr txBox="1">
            <a:spLocks/>
          </p:cNvSpPr>
          <p:nvPr/>
        </p:nvSpPr>
        <p:spPr bwMode="gray">
          <a:xfrm>
            <a:off x="707191" y="4864449"/>
            <a:ext cx="506549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su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feld 11">
            <a:extLst>
              <a:ext uri="{FF2B5EF4-FFF2-40B4-BE49-F238E27FC236}">
                <a16:creationId xmlns:a16="http://schemas.microsoft.com/office/drawing/2014/main" id="{A4C620CB-F8FB-BEAF-7BAF-DA827D00CBAA}"/>
              </a:ext>
            </a:extLst>
          </p:cNvPr>
          <p:cNvSpPr txBox="1">
            <a:spLocks/>
          </p:cNvSpPr>
          <p:nvPr/>
        </p:nvSpPr>
        <p:spPr bwMode="gray">
          <a:xfrm>
            <a:off x="5405239" y="4864449"/>
            <a:ext cx="92493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psum dolor</a:t>
            </a:r>
          </a:p>
        </p:txBody>
      </p:sp>
      <p:sp>
        <p:nvSpPr>
          <p:cNvPr id="35" name="Textfeld 12">
            <a:extLst>
              <a:ext uri="{FF2B5EF4-FFF2-40B4-BE49-F238E27FC236}">
                <a16:creationId xmlns:a16="http://schemas.microsoft.com/office/drawing/2014/main" id="{963510C2-0863-1665-A4D3-BDE5BECB0DC5}"/>
              </a:ext>
            </a:extLst>
          </p:cNvPr>
          <p:cNvSpPr txBox="1">
            <a:spLocks/>
          </p:cNvSpPr>
          <p:nvPr/>
        </p:nvSpPr>
        <p:spPr bwMode="gray">
          <a:xfrm>
            <a:off x="7458838" y="4864449"/>
            <a:ext cx="506549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psum</a:t>
            </a:r>
          </a:p>
        </p:txBody>
      </p:sp>
      <p:sp>
        <p:nvSpPr>
          <p:cNvPr id="36" name="Textfeld 13">
            <a:extLst>
              <a:ext uri="{FF2B5EF4-FFF2-40B4-BE49-F238E27FC236}">
                <a16:creationId xmlns:a16="http://schemas.microsoft.com/office/drawing/2014/main" id="{149BFAFA-8670-74EE-4EAF-829B1109707F}"/>
              </a:ext>
            </a:extLst>
          </p:cNvPr>
          <p:cNvSpPr txBox="1">
            <a:spLocks/>
          </p:cNvSpPr>
          <p:nvPr/>
        </p:nvSpPr>
        <p:spPr bwMode="gray">
          <a:xfrm>
            <a:off x="9733819" y="4864449"/>
            <a:ext cx="378310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Pad</a:t>
            </a:r>
          </a:p>
        </p:txBody>
      </p:sp>
      <p:sp>
        <p:nvSpPr>
          <p:cNvPr id="37" name="Textfeld 15">
            <a:extLst>
              <a:ext uri="{FF2B5EF4-FFF2-40B4-BE49-F238E27FC236}">
                <a16:creationId xmlns:a16="http://schemas.microsoft.com/office/drawing/2014/main" id="{9C456B2F-59EB-F660-1272-E8BAB1DBB8A7}"/>
              </a:ext>
            </a:extLst>
          </p:cNvPr>
          <p:cNvSpPr txBox="1">
            <a:spLocks/>
          </p:cNvSpPr>
          <p:nvPr/>
        </p:nvSpPr>
        <p:spPr bwMode="gray">
          <a:xfrm>
            <a:off x="2520846" y="5712827"/>
            <a:ext cx="764633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2}</a:t>
            </a:r>
          </a:p>
        </p:txBody>
      </p:sp>
      <p:sp>
        <p:nvSpPr>
          <p:cNvPr id="38" name="Textfeld 16">
            <a:extLst>
              <a:ext uri="{FF2B5EF4-FFF2-40B4-BE49-F238E27FC236}">
                <a16:creationId xmlns:a16="http://schemas.microsoft.com/office/drawing/2014/main" id="{8103DDC6-D6AB-9FAE-CF40-C3D7967A127A}"/>
              </a:ext>
            </a:extLst>
          </p:cNvPr>
          <p:cNvSpPr txBox="1">
            <a:spLocks/>
          </p:cNvSpPr>
          <p:nvPr/>
        </p:nvSpPr>
        <p:spPr bwMode="gray">
          <a:xfrm>
            <a:off x="4278006" y="5712827"/>
            <a:ext cx="766235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3}</a:t>
            </a:r>
          </a:p>
        </p:txBody>
      </p:sp>
      <p:sp>
        <p:nvSpPr>
          <p:cNvPr id="39" name="Textfeld 17">
            <a:extLst>
              <a:ext uri="{FF2B5EF4-FFF2-40B4-BE49-F238E27FC236}">
                <a16:creationId xmlns:a16="http://schemas.microsoft.com/office/drawing/2014/main" id="{5479C896-85E2-926D-2349-93816F88AD7D}"/>
              </a:ext>
            </a:extLst>
          </p:cNvPr>
          <p:cNvSpPr txBox="1">
            <a:spLocks/>
          </p:cNvSpPr>
          <p:nvPr/>
        </p:nvSpPr>
        <p:spPr bwMode="gray">
          <a:xfrm>
            <a:off x="6124358" y="5712827"/>
            <a:ext cx="772647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4}</a:t>
            </a:r>
          </a:p>
        </p:txBody>
      </p:sp>
      <p:sp>
        <p:nvSpPr>
          <p:cNvPr id="40" name="Textfeld 18">
            <a:extLst>
              <a:ext uri="{FF2B5EF4-FFF2-40B4-BE49-F238E27FC236}">
                <a16:creationId xmlns:a16="http://schemas.microsoft.com/office/drawing/2014/main" id="{37868A1A-622C-412F-3B26-13884916046F}"/>
              </a:ext>
            </a:extLst>
          </p:cNvPr>
          <p:cNvSpPr txBox="1">
            <a:spLocks/>
          </p:cNvSpPr>
          <p:nvPr/>
        </p:nvSpPr>
        <p:spPr bwMode="gray">
          <a:xfrm>
            <a:off x="7976320" y="5712827"/>
            <a:ext cx="767839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5}</a:t>
            </a:r>
          </a:p>
        </p:txBody>
      </p:sp>
      <p:sp>
        <p:nvSpPr>
          <p:cNvPr id="41" name="Textfeld 19">
            <a:extLst>
              <a:ext uri="{FF2B5EF4-FFF2-40B4-BE49-F238E27FC236}">
                <a16:creationId xmlns:a16="http://schemas.microsoft.com/office/drawing/2014/main" id="{7A3501D1-0885-4BDD-7A5E-2EEB4E8CFB0B}"/>
              </a:ext>
            </a:extLst>
          </p:cNvPr>
          <p:cNvSpPr txBox="1">
            <a:spLocks/>
          </p:cNvSpPr>
          <p:nvPr/>
        </p:nvSpPr>
        <p:spPr bwMode="gray">
          <a:xfrm>
            <a:off x="9534641" y="5712827"/>
            <a:ext cx="767839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6}</a:t>
            </a:r>
          </a:p>
        </p:txBody>
      </p:sp>
      <p:sp>
        <p:nvSpPr>
          <p:cNvPr id="42" name="Textfeld 20">
            <a:extLst>
              <a:ext uri="{FF2B5EF4-FFF2-40B4-BE49-F238E27FC236}">
                <a16:creationId xmlns:a16="http://schemas.microsoft.com/office/drawing/2014/main" id="{5AED2083-C4C7-7DFC-5A00-D0A1FC2E9269}"/>
              </a:ext>
            </a:extLst>
          </p:cNvPr>
          <p:cNvSpPr txBox="1">
            <a:spLocks/>
          </p:cNvSpPr>
          <p:nvPr/>
        </p:nvSpPr>
        <p:spPr bwMode="gray">
          <a:xfrm>
            <a:off x="11119269" y="5712827"/>
            <a:ext cx="753412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b="1" dirty="0">
                <a:solidFill>
                  <a:prstClr val="black"/>
                </a:solidFill>
              </a:rPr>
              <a:t>{year_7}</a:t>
            </a:r>
          </a:p>
        </p:txBody>
      </p:sp>
      <p:sp>
        <p:nvSpPr>
          <p:cNvPr id="43" name="Textfeld 21">
            <a:extLst>
              <a:ext uri="{FF2B5EF4-FFF2-40B4-BE49-F238E27FC236}">
                <a16:creationId xmlns:a16="http://schemas.microsoft.com/office/drawing/2014/main" id="{24C573DD-2257-177B-B368-139D6FFFB13E}"/>
              </a:ext>
            </a:extLst>
          </p:cNvPr>
          <p:cNvSpPr txBox="1">
            <a:spLocks/>
          </p:cNvSpPr>
          <p:nvPr/>
        </p:nvSpPr>
        <p:spPr bwMode="gray">
          <a:xfrm>
            <a:off x="3164314" y="4864449"/>
            <a:ext cx="924933" cy="430887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ore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psum dolor</a:t>
            </a:r>
          </a:p>
        </p:txBody>
      </p:sp>
      <p:sp>
        <p:nvSpPr>
          <p:cNvPr id="44" name="Textfeld 22">
            <a:extLst>
              <a:ext uri="{FF2B5EF4-FFF2-40B4-BE49-F238E27FC236}">
                <a16:creationId xmlns:a16="http://schemas.microsoft.com/office/drawing/2014/main" id="{41651444-5ED1-1CB3-9333-D7BA07DE1C8E}"/>
              </a:ext>
            </a:extLst>
          </p:cNvPr>
          <p:cNvSpPr txBox="1">
            <a:spLocks/>
          </p:cNvSpPr>
          <p:nvPr/>
        </p:nvSpPr>
        <p:spPr bwMode="gray">
          <a:xfrm>
            <a:off x="8734024" y="4864449"/>
            <a:ext cx="596317" cy="21544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Phone</a:t>
            </a:r>
          </a:p>
        </p:txBody>
      </p:sp>
      <p:sp>
        <p:nvSpPr>
          <p:cNvPr id="45" name="Textfeld 23">
            <a:extLst>
              <a:ext uri="{FF2B5EF4-FFF2-40B4-BE49-F238E27FC236}">
                <a16:creationId xmlns:a16="http://schemas.microsoft.com/office/drawing/2014/main" id="{0E97AB89-686F-A38F-6286-8EF9A840AEE6}"/>
              </a:ext>
            </a:extLst>
          </p:cNvPr>
          <p:cNvSpPr txBox="1">
            <a:spLocks/>
          </p:cNvSpPr>
          <p:nvPr/>
        </p:nvSpPr>
        <p:spPr bwMode="gray">
          <a:xfrm>
            <a:off x="422030" y="1571626"/>
            <a:ext cx="889667" cy="3077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age_1}</a:t>
            </a:r>
          </a:p>
        </p:txBody>
      </p:sp>
      <p:sp>
        <p:nvSpPr>
          <p:cNvPr id="46" name="Textfeld 24">
            <a:extLst>
              <a:ext uri="{FF2B5EF4-FFF2-40B4-BE49-F238E27FC236}">
                <a16:creationId xmlns:a16="http://schemas.microsoft.com/office/drawing/2014/main" id="{A2C109DC-16F3-A9FB-378C-CDA109F760BB}"/>
              </a:ext>
            </a:extLst>
          </p:cNvPr>
          <p:cNvSpPr txBox="1">
            <a:spLocks/>
          </p:cNvSpPr>
          <p:nvPr/>
        </p:nvSpPr>
        <p:spPr bwMode="gray">
          <a:xfrm>
            <a:off x="6385238" y="1571626"/>
            <a:ext cx="942566" cy="3077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age_2}</a:t>
            </a:r>
          </a:p>
        </p:txBody>
      </p:sp>
      <p:sp>
        <p:nvSpPr>
          <p:cNvPr id="54" name="Rechteck 56">
            <a:extLst>
              <a:ext uri="{FF2B5EF4-FFF2-40B4-BE49-F238E27FC236}">
                <a16:creationId xmlns:a16="http://schemas.microsoft.com/office/drawing/2014/main" id="{9D5A8E03-CA3A-58DA-548F-14FBF05F00C8}"/>
              </a:ext>
            </a:extLst>
          </p:cNvPr>
          <p:cNvSpPr>
            <a:spLocks/>
          </p:cNvSpPr>
          <p:nvPr/>
        </p:nvSpPr>
        <p:spPr bwMode="gray">
          <a:xfrm>
            <a:off x="2559741" y="1571626"/>
            <a:ext cx="8943413" cy="3986969"/>
          </a:xfrm>
          <a:custGeom>
            <a:avLst/>
            <a:gdLst>
              <a:gd name="connsiteX0" fmla="*/ 0 w 8029750"/>
              <a:gd name="connsiteY0" fmla="*/ 0 h 3304663"/>
              <a:gd name="connsiteX1" fmla="*/ 8029750 w 8029750"/>
              <a:gd name="connsiteY1" fmla="*/ 0 h 3304663"/>
              <a:gd name="connsiteX2" fmla="*/ 8029750 w 8029750"/>
              <a:gd name="connsiteY2" fmla="*/ 3304663 h 3304663"/>
              <a:gd name="connsiteX3" fmla="*/ 0 w 8029750"/>
              <a:gd name="connsiteY3" fmla="*/ 3304663 h 3304663"/>
              <a:gd name="connsiteX4" fmla="*/ 0 w 8029750"/>
              <a:gd name="connsiteY4" fmla="*/ 0 h 3304663"/>
              <a:gd name="connsiteX0" fmla="*/ 8029750 w 8121190"/>
              <a:gd name="connsiteY0" fmla="*/ 0 h 3304663"/>
              <a:gd name="connsiteX1" fmla="*/ 8029750 w 8121190"/>
              <a:gd name="connsiteY1" fmla="*/ 3304663 h 3304663"/>
              <a:gd name="connsiteX2" fmla="*/ 0 w 8121190"/>
              <a:gd name="connsiteY2" fmla="*/ 3304663 h 3304663"/>
              <a:gd name="connsiteX3" fmla="*/ 0 w 8121190"/>
              <a:gd name="connsiteY3" fmla="*/ 0 h 3304663"/>
              <a:gd name="connsiteX4" fmla="*/ 8121190 w 8121190"/>
              <a:gd name="connsiteY4" fmla="*/ 91440 h 3304663"/>
              <a:gd name="connsiteX0" fmla="*/ 8029750 w 8029750"/>
              <a:gd name="connsiteY0" fmla="*/ 0 h 3304663"/>
              <a:gd name="connsiteX1" fmla="*/ 8029750 w 8029750"/>
              <a:gd name="connsiteY1" fmla="*/ 3304663 h 3304663"/>
              <a:gd name="connsiteX2" fmla="*/ 0 w 8029750"/>
              <a:gd name="connsiteY2" fmla="*/ 3304663 h 3304663"/>
              <a:gd name="connsiteX3" fmla="*/ 0 w 8029750"/>
              <a:gd name="connsiteY3" fmla="*/ 0 h 3304663"/>
              <a:gd name="connsiteX0" fmla="*/ 8029750 w 8029750"/>
              <a:gd name="connsiteY0" fmla="*/ 3304663 h 3304663"/>
              <a:gd name="connsiteX1" fmla="*/ 0 w 8029750"/>
              <a:gd name="connsiteY1" fmla="*/ 3304663 h 3304663"/>
              <a:gd name="connsiteX2" fmla="*/ 0 w 8029750"/>
              <a:gd name="connsiteY2" fmla="*/ 0 h 330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29750" h="3304663">
                <a:moveTo>
                  <a:pt x="8029750" y="3304663"/>
                </a:moveTo>
                <a:lnTo>
                  <a:pt x="0" y="3304663"/>
                </a:lnTo>
                <a:lnTo>
                  <a:pt x="0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Rechteck 57">
            <a:extLst>
              <a:ext uri="{FF2B5EF4-FFF2-40B4-BE49-F238E27FC236}">
                <a16:creationId xmlns:a16="http://schemas.microsoft.com/office/drawing/2014/main" id="{29DEB92D-EE0C-38CB-62ED-2EE6B961ECEF}"/>
              </a:ext>
            </a:extLst>
          </p:cNvPr>
          <p:cNvSpPr>
            <a:spLocks/>
          </p:cNvSpPr>
          <p:nvPr/>
        </p:nvSpPr>
        <p:spPr bwMode="gray">
          <a:xfrm>
            <a:off x="4667887" y="2043206"/>
            <a:ext cx="7141524" cy="3515387"/>
          </a:xfrm>
          <a:custGeom>
            <a:avLst/>
            <a:gdLst>
              <a:gd name="connsiteX0" fmla="*/ 0 w 6136972"/>
              <a:gd name="connsiteY0" fmla="*/ 0 h 2945203"/>
              <a:gd name="connsiteX1" fmla="*/ 6136972 w 6136972"/>
              <a:gd name="connsiteY1" fmla="*/ 0 h 2945203"/>
              <a:gd name="connsiteX2" fmla="*/ 6136972 w 6136972"/>
              <a:gd name="connsiteY2" fmla="*/ 2945203 h 2945203"/>
              <a:gd name="connsiteX3" fmla="*/ 0 w 6136972"/>
              <a:gd name="connsiteY3" fmla="*/ 2945203 h 2945203"/>
              <a:gd name="connsiteX4" fmla="*/ 0 w 6136972"/>
              <a:gd name="connsiteY4" fmla="*/ 0 h 2945203"/>
              <a:gd name="connsiteX0" fmla="*/ 6136972 w 6228412"/>
              <a:gd name="connsiteY0" fmla="*/ 2945203 h 3036643"/>
              <a:gd name="connsiteX1" fmla="*/ 0 w 6228412"/>
              <a:gd name="connsiteY1" fmla="*/ 2945203 h 3036643"/>
              <a:gd name="connsiteX2" fmla="*/ 0 w 6228412"/>
              <a:gd name="connsiteY2" fmla="*/ 0 h 3036643"/>
              <a:gd name="connsiteX3" fmla="*/ 6136972 w 6228412"/>
              <a:gd name="connsiteY3" fmla="*/ 0 h 3036643"/>
              <a:gd name="connsiteX4" fmla="*/ 6228412 w 6228412"/>
              <a:gd name="connsiteY4" fmla="*/ 3036643 h 3036643"/>
              <a:gd name="connsiteX0" fmla="*/ 6136972 w 6136972"/>
              <a:gd name="connsiteY0" fmla="*/ 2945203 h 2945203"/>
              <a:gd name="connsiteX1" fmla="*/ 0 w 6136972"/>
              <a:gd name="connsiteY1" fmla="*/ 2945203 h 2945203"/>
              <a:gd name="connsiteX2" fmla="*/ 0 w 6136972"/>
              <a:gd name="connsiteY2" fmla="*/ 0 h 2945203"/>
              <a:gd name="connsiteX3" fmla="*/ 6136972 w 6136972"/>
              <a:gd name="connsiteY3" fmla="*/ 0 h 2945203"/>
              <a:gd name="connsiteX0" fmla="*/ 0 w 6136972"/>
              <a:gd name="connsiteY0" fmla="*/ 2945203 h 2945203"/>
              <a:gd name="connsiteX1" fmla="*/ 0 w 6136972"/>
              <a:gd name="connsiteY1" fmla="*/ 0 h 2945203"/>
              <a:gd name="connsiteX2" fmla="*/ 6136972 w 6136972"/>
              <a:gd name="connsiteY2" fmla="*/ 0 h 2945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6972" h="2945203">
                <a:moveTo>
                  <a:pt x="0" y="2945203"/>
                </a:moveTo>
                <a:lnTo>
                  <a:pt x="0" y="0"/>
                </a:lnTo>
                <a:lnTo>
                  <a:pt x="6136972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Rechteck 58">
            <a:extLst>
              <a:ext uri="{FF2B5EF4-FFF2-40B4-BE49-F238E27FC236}">
                <a16:creationId xmlns:a16="http://schemas.microsoft.com/office/drawing/2014/main" id="{BD968848-12D4-2E77-D8CA-78EE10B53BF4}"/>
              </a:ext>
            </a:extLst>
          </p:cNvPr>
          <p:cNvSpPr>
            <a:spLocks/>
          </p:cNvSpPr>
          <p:nvPr/>
        </p:nvSpPr>
        <p:spPr bwMode="gray">
          <a:xfrm>
            <a:off x="7067521" y="2614302"/>
            <a:ext cx="4741891" cy="2944291"/>
          </a:xfrm>
          <a:custGeom>
            <a:avLst/>
            <a:gdLst>
              <a:gd name="connsiteX0" fmla="*/ 0 w 3982487"/>
              <a:gd name="connsiteY0" fmla="*/ 0 h 2466737"/>
              <a:gd name="connsiteX1" fmla="*/ 3982487 w 3982487"/>
              <a:gd name="connsiteY1" fmla="*/ 0 h 2466737"/>
              <a:gd name="connsiteX2" fmla="*/ 3982487 w 3982487"/>
              <a:gd name="connsiteY2" fmla="*/ 2466737 h 2466737"/>
              <a:gd name="connsiteX3" fmla="*/ 0 w 3982487"/>
              <a:gd name="connsiteY3" fmla="*/ 2466737 h 2466737"/>
              <a:gd name="connsiteX4" fmla="*/ 0 w 3982487"/>
              <a:gd name="connsiteY4" fmla="*/ 0 h 2466737"/>
              <a:gd name="connsiteX0" fmla="*/ 3982487 w 4073927"/>
              <a:gd name="connsiteY0" fmla="*/ 2466737 h 2558177"/>
              <a:gd name="connsiteX1" fmla="*/ 0 w 4073927"/>
              <a:gd name="connsiteY1" fmla="*/ 2466737 h 2558177"/>
              <a:gd name="connsiteX2" fmla="*/ 0 w 4073927"/>
              <a:gd name="connsiteY2" fmla="*/ 0 h 2558177"/>
              <a:gd name="connsiteX3" fmla="*/ 3982487 w 4073927"/>
              <a:gd name="connsiteY3" fmla="*/ 0 h 2558177"/>
              <a:gd name="connsiteX4" fmla="*/ 4073927 w 4073927"/>
              <a:gd name="connsiteY4" fmla="*/ 2558177 h 2558177"/>
              <a:gd name="connsiteX0" fmla="*/ 3982487 w 3982487"/>
              <a:gd name="connsiteY0" fmla="*/ 2466737 h 2466737"/>
              <a:gd name="connsiteX1" fmla="*/ 0 w 3982487"/>
              <a:gd name="connsiteY1" fmla="*/ 2466737 h 2466737"/>
              <a:gd name="connsiteX2" fmla="*/ 0 w 3982487"/>
              <a:gd name="connsiteY2" fmla="*/ 0 h 2466737"/>
              <a:gd name="connsiteX3" fmla="*/ 3982487 w 3982487"/>
              <a:gd name="connsiteY3" fmla="*/ 0 h 2466737"/>
              <a:gd name="connsiteX0" fmla="*/ 0 w 3982487"/>
              <a:gd name="connsiteY0" fmla="*/ 2466737 h 2466737"/>
              <a:gd name="connsiteX1" fmla="*/ 0 w 3982487"/>
              <a:gd name="connsiteY1" fmla="*/ 0 h 2466737"/>
              <a:gd name="connsiteX2" fmla="*/ 3982487 w 3982487"/>
              <a:gd name="connsiteY2" fmla="*/ 0 h 246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2487" h="2466737">
                <a:moveTo>
                  <a:pt x="0" y="2466737"/>
                </a:moveTo>
                <a:lnTo>
                  <a:pt x="0" y="0"/>
                </a:lnTo>
                <a:lnTo>
                  <a:pt x="3982487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7" name="Gerader Verbinder 14">
            <a:extLst>
              <a:ext uri="{FF2B5EF4-FFF2-40B4-BE49-F238E27FC236}">
                <a16:creationId xmlns:a16="http://schemas.microsoft.com/office/drawing/2014/main" id="{E43206C8-9FE5-73CC-5275-DB14F6C39EDA}"/>
              </a:ext>
            </a:extLst>
          </p:cNvPr>
          <p:cNvCxnSpPr>
            <a:cxnSpLocks/>
          </p:cNvCxnSpPr>
          <p:nvPr/>
        </p:nvCxnSpPr>
        <p:spPr bwMode="gray">
          <a:xfrm>
            <a:off x="428017" y="5558592"/>
            <a:ext cx="11381395" cy="0"/>
          </a:xfrm>
          <a:prstGeom prst="line">
            <a:avLst/>
          </a:prstGeom>
          <a:ln w="38100" cap="rnd">
            <a:solidFill>
              <a:schemeClr val="accent1"/>
            </a:solidFill>
            <a:headEnd type="none" w="lg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Grafik 44">
            <a:extLst>
              <a:ext uri="{FF2B5EF4-FFF2-40B4-BE49-F238E27FC236}">
                <a16:creationId xmlns:a16="http://schemas.microsoft.com/office/drawing/2014/main" id="{D2BBD6D0-CBD6-35C7-B274-9D918AF4F0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822" y="4227708"/>
            <a:ext cx="617288" cy="617288"/>
          </a:xfrm>
          <a:prstGeom prst="rect">
            <a:avLst/>
          </a:prstGeom>
        </p:spPr>
      </p:pic>
      <p:pic>
        <p:nvPicPr>
          <p:cNvPr id="59" name="Grafik 46">
            <a:extLst>
              <a:ext uri="{FF2B5EF4-FFF2-40B4-BE49-F238E27FC236}">
                <a16:creationId xmlns:a16="http://schemas.microsoft.com/office/drawing/2014/main" id="{26DEDB7D-C16A-047C-F654-B3E4DAE9A5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9614330" y="4227708"/>
            <a:ext cx="617288" cy="617288"/>
          </a:xfrm>
          <a:prstGeom prst="rect">
            <a:avLst/>
          </a:prstGeom>
        </p:spPr>
      </p:pic>
      <p:pic>
        <p:nvPicPr>
          <p:cNvPr id="60" name="Grafik 48">
            <a:extLst>
              <a:ext uri="{FF2B5EF4-FFF2-40B4-BE49-F238E27FC236}">
                <a16:creationId xmlns:a16="http://schemas.microsoft.com/office/drawing/2014/main" id="{A197043F-137E-FD29-5803-39CD9121E41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78906" y="4283075"/>
            <a:ext cx="506554" cy="506554"/>
          </a:xfrm>
          <a:prstGeom prst="rect">
            <a:avLst/>
          </a:prstGeom>
        </p:spPr>
      </p:pic>
      <p:pic>
        <p:nvPicPr>
          <p:cNvPr id="61" name="Grafik 50">
            <a:extLst>
              <a:ext uri="{FF2B5EF4-FFF2-40B4-BE49-F238E27FC236}">
                <a16:creationId xmlns:a16="http://schemas.microsoft.com/office/drawing/2014/main" id="{0AF3CCBC-8016-FCC1-24B7-CA532DAC43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03469" y="4227708"/>
            <a:ext cx="617288" cy="617288"/>
          </a:xfrm>
          <a:prstGeom prst="rect">
            <a:avLst/>
          </a:prstGeom>
        </p:spPr>
      </p:pic>
      <p:pic>
        <p:nvPicPr>
          <p:cNvPr id="62" name="Grafik 52">
            <a:extLst>
              <a:ext uri="{FF2B5EF4-FFF2-40B4-BE49-F238E27FC236}">
                <a16:creationId xmlns:a16="http://schemas.microsoft.com/office/drawing/2014/main" id="{CD030C57-BF64-D2A5-1425-BCE3184582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59062" y="4227708"/>
            <a:ext cx="617288" cy="617288"/>
          </a:xfrm>
          <a:prstGeom prst="rect">
            <a:avLst/>
          </a:prstGeom>
        </p:spPr>
      </p:pic>
      <p:pic>
        <p:nvPicPr>
          <p:cNvPr id="63" name="Grafik 54">
            <a:extLst>
              <a:ext uri="{FF2B5EF4-FFF2-40B4-BE49-F238E27FC236}">
                <a16:creationId xmlns:a16="http://schemas.microsoft.com/office/drawing/2014/main" id="{DE7FE74D-FE76-D49E-F53C-7B798A4A0AA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318137" y="4227708"/>
            <a:ext cx="617288" cy="617288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5B93FCBE-1EA9-CA62-4C85-73A3DEFF31F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554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s, milestone, milestones, history, icon, icons</a:t>
            </a:r>
          </a:p>
        </p:txBody>
      </p:sp>
    </p:spTree>
    <p:extLst>
      <p:ext uri="{BB962C8B-B14F-4D97-AF65-F5344CB8AC3E}">
        <p14:creationId xmlns:p14="http://schemas.microsoft.com/office/powerpoint/2010/main" val="597140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7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25:47Z</dcterms:created>
  <dcterms:modified xsi:type="dcterms:W3CDTF">2025-09-09T02:27:07Z</dcterms:modified>
</cp:coreProperties>
</file>